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6" d="100"/>
          <a:sy n="66" d="100"/>
        </p:scale>
        <p:origin x="-190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undertiteltypografien i masteren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02D6F1-3DA2-42D4-9E68-F7BB3B8BE5BE}" type="datetimeFigureOut">
              <a:rPr lang="da-DK" smtClean="0"/>
              <a:pPr/>
              <a:t>13-11-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3A2920-5E2A-4332-ADA7-8534EDF20F38}" type="slidenum">
              <a:rPr lang="da-DK" smtClean="0"/>
              <a:pPr/>
              <a:t>‹nr.›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"/>
          <p:cNvGrpSpPr>
            <a:grpSpLocks/>
          </p:cNvGrpSpPr>
          <p:nvPr/>
        </p:nvGrpSpPr>
        <p:grpSpPr bwMode="auto">
          <a:xfrm>
            <a:off x="5292080" y="5589236"/>
            <a:ext cx="3628776" cy="555667"/>
            <a:chOff x="6113438" y="4458493"/>
            <a:chExt cx="2297240" cy="401007"/>
          </a:xfrm>
        </p:grpSpPr>
        <p:sp>
          <p:nvSpPr>
            <p:cNvPr id="5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364277" y="4528183"/>
              <a:ext cx="2046401" cy="331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ts val="720"/>
                </a:spcBef>
                <a:defRPr/>
              </a:pPr>
              <a:r>
                <a:rPr lang="da-DK" sz="1200" dirty="0" smtClean="0">
                  <a:latin typeface="+mn-lt"/>
                  <a:sym typeface="Verdana"/>
                </a:rPr>
                <a:t>”</a:t>
              </a:r>
              <a:r>
                <a:rPr lang="da-DK" sz="1200" dirty="0" smtClean="0">
                  <a:sym typeface="Verdana"/>
                </a:rPr>
                <a:t>Kan julen stjæles</a:t>
              </a:r>
              <a:r>
                <a:rPr lang="da-DK" sz="1200" dirty="0" smtClean="0">
                  <a:latin typeface="+mn-lt"/>
                  <a:sym typeface="Verdana"/>
                </a:rPr>
                <a:t> </a:t>
              </a:r>
              <a:r>
                <a:rPr lang="da-DK" sz="1200" dirty="0">
                  <a:latin typeface="+mn-lt"/>
                  <a:sym typeface="Verdana"/>
                </a:rPr>
                <a:t>– </a:t>
              </a:r>
              <a:r>
                <a:rPr lang="da-DK" sz="1200" dirty="0" smtClean="0">
                  <a:sym typeface="Verdana"/>
                </a:rPr>
                <a:t>folk siger den har meget værdi</a:t>
              </a:r>
              <a:r>
                <a:rPr lang="da-DK" sz="1200" dirty="0" smtClean="0">
                  <a:latin typeface="+mn-lt"/>
                  <a:sym typeface="Verdana"/>
                </a:rPr>
                <a:t>"</a:t>
              </a:r>
              <a:endParaRPr lang="da-DK" sz="1200" dirty="0">
                <a:latin typeface="+mn-lt"/>
                <a:sym typeface="Verdana"/>
              </a:endParaRPr>
            </a:p>
            <a:p>
              <a:pPr algn="r">
                <a:spcBef>
                  <a:spcPts val="720"/>
                </a:spcBef>
                <a:defRPr/>
              </a:pPr>
              <a:r>
                <a:rPr lang="da-DK" sz="1200" i="1" dirty="0" err="1" smtClean="0">
                  <a:sym typeface="Verdana"/>
                </a:rPr>
                <a:t>Juletyven</a:t>
              </a:r>
              <a:endParaRPr lang="da-DK" sz="1200" i="1" dirty="0">
                <a:latin typeface="+mn-lt"/>
                <a:sym typeface="Verdana"/>
              </a:endParaRPr>
            </a:p>
          </p:txBody>
        </p:sp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6113438" y="4458493"/>
              <a:ext cx="2297239" cy="198853"/>
              <a:chOff x="5824094" y="4650198"/>
              <a:chExt cx="2297239" cy="198853"/>
            </a:xfrm>
          </p:grpSpPr>
          <p:cxnSp>
            <p:nvCxnSpPr>
              <p:cNvPr id="7" name="Lige pilforbindelse 67"/>
              <p:cNvCxnSpPr>
                <a:cxnSpLocks noChangeShapeType="1"/>
              </p:cNvCxnSpPr>
              <p:nvPr>
                <p:custDataLst>
                  <p:tags r:id="rId2"/>
                </p:custDataLst>
              </p:nvPr>
            </p:nvCxnSpPr>
            <p:spPr bwMode="auto">
              <a:xfrm rot="5400000">
                <a:off x="5874574" y="4749578"/>
                <a:ext cx="197644" cy="1302"/>
              </a:xfrm>
              <a:prstGeom prst="straightConnector1">
                <a:avLst/>
              </a:prstGeom>
              <a:noFill/>
              <a:ln w="28575" algn="ctr">
                <a:solidFill>
                  <a:schemeClr val="accent1"/>
                </a:solidFill>
                <a:round/>
                <a:headEnd/>
                <a:tailEnd/>
              </a:ln>
            </p:spPr>
          </p:cxnSp>
          <p:sp>
            <p:nvSpPr>
              <p:cNvPr id="8" name="Line 37"/>
              <p:cNvSpPr>
                <a:spLocks noChangeShapeType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824094" y="4650198"/>
                <a:ext cx="229724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/>
              <a:lstStyle/>
              <a:p>
                <a:pPr>
                  <a:spcBef>
                    <a:spcPts val="720"/>
                  </a:spcBef>
                  <a:defRPr/>
                </a:pPr>
                <a:endParaRPr lang="da-DK" sz="1200" b="1" dirty="0">
                  <a:latin typeface="+mn-lt"/>
                </a:endParaRPr>
              </a:p>
            </p:txBody>
          </p:sp>
          <p:cxnSp>
            <p:nvCxnSpPr>
              <p:cNvPr id="9" name="Lige pilforbindelse 45"/>
              <p:cNvCxnSpPr>
                <a:cxnSpLocks noChangeShapeType="1"/>
              </p:cNvCxnSpPr>
              <p:nvPr>
                <p:custDataLst>
                  <p:tags r:id="rId4"/>
                </p:custDataLst>
              </p:nvPr>
            </p:nvCxnSpPr>
            <p:spPr bwMode="auto">
              <a:xfrm rot="5400000">
                <a:off x="5816052" y="4749578"/>
                <a:ext cx="197644" cy="1302"/>
              </a:xfrm>
              <a:prstGeom prst="straightConnector1">
                <a:avLst/>
              </a:prstGeom>
              <a:noFill/>
              <a:ln w="28575" algn="ctr">
                <a:solidFill>
                  <a:schemeClr val="accent1"/>
                </a:solidFill>
                <a:round/>
                <a:headEnd/>
                <a:tailEnd/>
              </a:ln>
            </p:spPr>
          </p:cxnSp>
        </p:grpSp>
      </p:grpSp>
      <p:sp>
        <p:nvSpPr>
          <p:cNvPr id="10" name="Tekstboks 9"/>
          <p:cNvSpPr txBox="1"/>
          <p:nvPr/>
        </p:nvSpPr>
        <p:spPr>
          <a:xfrm>
            <a:off x="467544" y="332656"/>
            <a:ext cx="4896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Plan A for tyveri af julen! </a:t>
            </a:r>
            <a:r>
              <a:rPr lang="da-DK" dirty="0" err="1" smtClean="0"/>
              <a:t>Shh</a:t>
            </a:r>
            <a:r>
              <a:rPr lang="da-DK" dirty="0" smtClean="0"/>
              <a:t>.. hemmeligt</a:t>
            </a:r>
            <a:endParaRPr lang="da-DK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9552" y="908720"/>
            <a:ext cx="8186770" cy="4268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zOp6odx0WAiYsc8pV8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O.ealFzkmSZS95bRE0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BDDIec2kCj70VFhoLX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O.ealFzkmSZS95bRE0hw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23</Words>
  <Application>Microsoft Office PowerPoint</Application>
  <PresentationFormat>Skærmshow (4:3)</PresentationFormat>
  <Paragraphs>3</Paragraphs>
  <Slides>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2" baseType="lpstr">
      <vt:lpstr>Kontortema</vt:lpstr>
      <vt:lpstr>Dias nummer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itiøjne</dc:title>
  <dc:subject>Husk gaver har tredobbelt værdi</dc:subject>
  <dc:creator>Juletyven</dc:creator>
  <cp:keywords>nøglen kræver 5 omgange</cp:keywords>
  <dc:description>0: Juletyven
1: Julen bliver min. 
2: NC3{
3: kan
4: ikke
5: _
6: stoppe
7: mig
8: }
9: Juletyvens
10: hemmelig
11: Julemanden
12: plan
13: __</dc:description>
  <cp:lastModifiedBy>Juletyven</cp:lastModifiedBy>
  <cp:revision>1</cp:revision>
  <dcterms:created xsi:type="dcterms:W3CDTF">2019-11-13T16:46:51Z</dcterms:created>
  <dcterms:modified xsi:type="dcterms:W3CDTF">2019-11-13T20:18:50Z</dcterms:modified>
  <cp:category>jul i ord x 2</cp:category>
  <cp:contentStatus>Det sker om 8 dage</cp:contentStatus>
</cp:coreProperties>
</file>